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10" r:id="rId4"/>
  </p:sldMasterIdLst>
  <p:notesMasterIdLst>
    <p:notesMasterId r:id="rId6"/>
  </p:notesMasterIdLst>
  <p:handoutMasterIdLst>
    <p:handoutMasterId r:id="rId7"/>
  </p:handoutMasterIdLst>
  <p:sldIdLst>
    <p:sldId id="613" r:id="rId5"/>
  </p:sldIdLst>
  <p:sldSz cx="29260800" cy="16459200"/>
  <p:notesSz cx="6858000" cy="9144000"/>
  <p:embeddedFontLs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돋움" panose="020B0600000101010101" pitchFamily="50" charset="-127"/>
      <p:regular r:id="rId12"/>
    </p:embeddedFont>
    <p:embeddedFont>
      <p:font typeface="맑은 고딕" panose="020B0503020000020004" pitchFamily="50" charset="-127"/>
      <p:regular r:id="rId13"/>
      <p:bold r:id="rId14"/>
    </p:embeddedFont>
  </p:embeddedFontLst>
  <p:custDataLst>
    <p:tags r:id="rId15"/>
  </p:custDataLst>
  <p:defaultTextStyle>
    <a:defPPr>
      <a:defRPr lang="en-US"/>
    </a:defPPr>
    <a:lvl1pPr marL="0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1pPr>
    <a:lvl2pPr marL="1306266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2pPr>
    <a:lvl3pPr marL="2612532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3pPr>
    <a:lvl4pPr marL="3918798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4pPr>
    <a:lvl5pPr marL="5225064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5pPr>
    <a:lvl6pPr marL="6531331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6pPr>
    <a:lvl7pPr marL="7837597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7pPr>
    <a:lvl8pPr marL="9143863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8pPr>
    <a:lvl9pPr marL="10450129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2039"/>
    <a:srgbClr val="10153E"/>
    <a:srgbClr val="00539F"/>
    <a:srgbClr val="B1B84F"/>
    <a:srgbClr val="1A2441"/>
    <a:srgbClr val="E4003B"/>
    <a:srgbClr val="6CB0E2"/>
    <a:srgbClr val="A7D6F5"/>
    <a:srgbClr val="191D1F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209064-C04E-4589-956D-93D97AAA30D7}" v="391" dt="2023-12-04T00:06:54.300"/>
  </p1510:revLst>
</p1510:revInfo>
</file>

<file path=ppt/tableStyles.xml><?xml version="1.0" encoding="utf-8"?>
<a:tblStyleLst xmlns:a="http://schemas.openxmlformats.org/drawingml/2006/main" def="{0D051DFB-6FD7-4902-BC04-3D226E9CE90D}">
  <a:tblStyle styleId="{0D051DFB-6FD7-4902-BC04-3D226E9CE90D}" styleName="audibene Table Style 1.0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rgbClr val="CCCCCD"/>
              </a:solidFill>
            </a:ln>
          </a:right>
          <a:top>
            <a:ln w="0" cmpd="sng">
              <a:solidFill>
                <a:srgbClr val="CCCCCD"/>
              </a:solidFill>
            </a:ln>
          </a:top>
          <a:bottom>
            <a:ln w="0" cmpd="sng">
              <a:solidFill>
                <a:srgbClr val="CCCCCD"/>
              </a:solidFill>
            </a:ln>
          </a:bottom>
          <a:insideH>
            <a:ln w="6350" cmpd="sng">
              <a:solidFill>
                <a:srgbClr val="CCCCCD"/>
              </a:solidFill>
            </a:ln>
          </a:insideH>
          <a:insideV>
            <a:ln w="0" cmpd="sng">
              <a:solidFill>
                <a:srgbClr val="CCCCCD"/>
              </a:solidFill>
            </a:ln>
          </a:insideV>
        </a:tcBdr>
        <a:fill>
          <a:solidFill>
            <a:schemeClr val="lt1"/>
          </a:solidFill>
        </a:fill>
      </a:tcStyle>
    </a:wholeTbl>
    <a:band2H>
      <a:tcStyle>
        <a:tcBdr>
          <a:insideH>
            <a:ln w="6350" cmpd="sng">
              <a:solidFill>
                <a:srgbClr val="CCCCCD"/>
              </a:solidFill>
            </a:ln>
          </a:insideH>
          <a:insideV>
            <a:ln w="0" cmpd="sng">
              <a:solidFill>
                <a:srgbClr val="CCCCCD"/>
              </a:solidFill>
            </a:ln>
          </a:insideV>
        </a:tcBdr>
        <a:fill>
          <a:solidFill>
            <a:srgbClr val="CCCCCD"/>
          </a:solidFill>
        </a:fill>
      </a:tcStyle>
    </a:band2H>
    <a:band1V>
      <a:tcStyle>
        <a:tcBdr>
          <a:insideH>
            <a:ln w="6350" cmpd="sng">
              <a:solidFill>
                <a:srgbClr val="FFFFFF"/>
              </a:solidFill>
            </a:ln>
          </a:insideH>
        </a:tcBdr>
        <a:fill>
          <a:solidFill>
            <a:srgbClr val="CCCCCD"/>
          </a:solidFill>
        </a:fill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dk1"/>
      </a:tcTxStyle>
      <a:tcStyle>
        <a:tcBdr>
          <a:insideH>
            <a:ln w="6350" cmpd="sng">
              <a:solidFill>
                <a:schemeClr val="lt1"/>
              </a:solidFill>
            </a:ln>
          </a:insideH>
        </a:tcBdr>
        <a:fill>
          <a:solidFill>
            <a:srgbClr val="CCCCCD"/>
          </a:solidFill>
        </a:fill>
      </a:tcStyle>
    </a:lastCol>
    <a:firstCol>
      <a:tcTxStyle b="on">
        <a:fontRef idx="major">
          <a:prstClr val="black"/>
        </a:fontRef>
        <a:schemeClr val="lt1"/>
      </a:tcTxStyle>
      <a:tcStyle>
        <a:tcBdr>
          <a:insideH>
            <a:ln w="6350" cmpd="sng">
              <a:solidFill>
                <a:schemeClr val="lt1"/>
              </a:solidFill>
            </a:ln>
          </a:insideH>
        </a:tcBdr>
        <a:fill>
          <a:solidFill>
            <a:schemeClr val="accent5"/>
          </a:solidFill>
        </a:fill>
      </a:tcStyle>
    </a:firstCol>
    <a:lastRow>
      <a:tcTxStyle b="off">
        <a:fontRef idx="minor">
          <a:prstClr val="black"/>
        </a:fontRef>
        <a:schemeClr val="dk1"/>
      </a:tcTxStyle>
      <a:tcStyle>
        <a:tcBdr>
          <a:top>
            <a:ln w="6350" cmpd="sng">
              <a:solidFill>
                <a:schemeClr val="lt1"/>
              </a:solidFill>
            </a:ln>
          </a:top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CCCCCD"/>
          </a:solidFill>
        </a:fill>
      </a:tcStyle>
    </a:lastRow>
    <a:firstRow>
      <a:tcTxStyle b="on">
        <a:fontRef idx="major">
          <a:prstClr val="black"/>
        </a:fontRef>
        <a:schemeClr val="lt1"/>
      </a:tcTxStyle>
      <a:tcStyle>
        <a:tcBdr>
          <a:bottom>
            <a:ln w="6350" cmpd="sng">
              <a:solidFill>
                <a:schemeClr val="lt1"/>
              </a:solidFill>
            </a:ln>
          </a:bottom>
          <a:insideV>
            <a:ln w="6350" cmpd="sng">
              <a:solidFill>
                <a:schemeClr val="lt1"/>
              </a:solidFill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테마 스타일 1 - 강조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밝은 스타일 2 - 강조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밝은 스타일 2 - 강조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47" autoAdjust="0"/>
    <p:restoredTop sz="94830" autoAdjust="0"/>
  </p:normalViewPr>
  <p:slideViewPr>
    <p:cSldViewPr snapToGrid="0">
      <p:cViewPr varScale="1">
        <p:scale>
          <a:sx n="46" d="100"/>
          <a:sy n="46" d="100"/>
        </p:scale>
        <p:origin x="726" y="-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font" Target="fonts/font3.fntdata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ngmyeong Kim" userId="d517eb38-f897-4a85-b305-3233dcf5c226" providerId="ADAL" clId="{FCF6002D-E6C9-4780-9D5B-8CE9A2D0D6BE}"/>
    <pc:docChg chg="undo custSel mod modSld">
      <pc:chgData name="Dongmyeong Kim" userId="d517eb38-f897-4a85-b305-3233dcf5c226" providerId="ADAL" clId="{FCF6002D-E6C9-4780-9D5B-8CE9A2D0D6BE}" dt="2023-07-31T23:06:34.835" v="16724" actId="20577"/>
      <pc:docMkLst>
        <pc:docMk/>
      </pc:docMkLst>
      <pc:sldChg chg="addSp delSp modSp mod">
        <pc:chgData name="Dongmyeong Kim" userId="d517eb38-f897-4a85-b305-3233dcf5c226" providerId="ADAL" clId="{FCF6002D-E6C9-4780-9D5B-8CE9A2D0D6BE}" dt="2023-07-31T23:06:34.835" v="16724" actId="20577"/>
        <pc:sldMkLst>
          <pc:docMk/>
          <pc:sldMk cId="3426754923" sldId="611"/>
        </pc:sldMkLst>
        <pc:spChg chg="mod">
          <ac:chgData name="Dongmyeong Kim" userId="d517eb38-f897-4a85-b305-3233dcf5c226" providerId="ADAL" clId="{FCF6002D-E6C9-4780-9D5B-8CE9A2D0D6BE}" dt="2023-07-17T23:44:34.473" v="15416" actId="1076"/>
          <ac:spMkLst>
            <pc:docMk/>
            <pc:sldMk cId="3426754923" sldId="611"/>
            <ac:spMk id="22" creationId="{CD33B719-BAAC-7E42-D03F-4353FA99D0B4}"/>
          </ac:spMkLst>
        </pc:spChg>
        <pc:spChg chg="add del mod">
          <ac:chgData name="Dongmyeong Kim" userId="d517eb38-f897-4a85-b305-3233dcf5c226" providerId="ADAL" clId="{FCF6002D-E6C9-4780-9D5B-8CE9A2D0D6BE}" dt="2023-07-31T23:05:36.985" v="16639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Dongmyeong Kim" userId="d517eb38-f897-4a85-b305-3233dcf5c226" providerId="ADAL" clId="{FCF6002D-E6C9-4780-9D5B-8CE9A2D0D6BE}" dt="2023-07-30T23:52:41.320" v="16633" actId="20577"/>
          <ac:spMkLst>
            <pc:docMk/>
            <pc:sldMk cId="3426754923" sldId="611"/>
            <ac:spMk id="29" creationId="{8484D90C-DBF4-B9D9-83A3-77F2315749FA}"/>
          </ac:spMkLst>
        </pc:spChg>
        <pc:graphicFrameChg chg="add del mod">
          <ac:chgData name="Dongmyeong Kim" userId="d517eb38-f897-4a85-b305-3233dcf5c226" providerId="ADAL" clId="{FCF6002D-E6C9-4780-9D5B-8CE9A2D0D6BE}" dt="2023-04-03T09:21:53.773" v="8655" actId="478"/>
          <ac:graphicFrameMkLst>
            <pc:docMk/>
            <pc:sldMk cId="3426754923" sldId="611"/>
            <ac:graphicFrameMk id="2" creationId="{74E6E307-3BDD-307C-AB4A-127085818DA6}"/>
          </ac:graphicFrameMkLst>
        </pc:graphicFrameChg>
        <pc:graphicFrameChg chg="add del mod modGraphic">
          <ac:chgData name="Dongmyeong Kim" userId="d517eb38-f897-4a85-b305-3233dcf5c226" providerId="ADAL" clId="{FCF6002D-E6C9-4780-9D5B-8CE9A2D0D6BE}" dt="2023-07-31T23:06:34.835" v="16724" actId="20577"/>
          <ac:graphicFrameMkLst>
            <pc:docMk/>
            <pc:sldMk cId="3426754923" sldId="611"/>
            <ac:graphicFrameMk id="21" creationId="{3D0B9901-0AEA-28F1-0FEE-B6E27488074C}"/>
          </ac:graphicFrameMkLst>
        </pc:graphicFrameChg>
        <pc:picChg chg="mod">
          <ac:chgData name="Dongmyeong Kim" userId="d517eb38-f897-4a85-b305-3233dcf5c226" providerId="ADAL" clId="{FCF6002D-E6C9-4780-9D5B-8CE9A2D0D6BE}" dt="2023-06-07T23:53:17.599" v="12143" actId="1076"/>
          <ac:picMkLst>
            <pc:docMk/>
            <pc:sldMk cId="3426754923" sldId="611"/>
            <ac:picMk id="34" creationId="{A1AEB4B4-3493-81DA-1A35-6A87BBC18E28}"/>
          </ac:picMkLst>
        </pc:picChg>
      </pc:sldChg>
    </pc:docChg>
  </pc:docChgLst>
  <pc:docChgLst>
    <pc:chgData name="Orders KR" userId="1a415e1d-f435-45a9-a685-e2d8b9047c32" providerId="ADAL" clId="{FCF6002D-E6C9-4780-9D5B-8CE9A2D0D6BE}"/>
    <pc:docChg chg="modSld">
      <pc:chgData name="Orders KR" userId="1a415e1d-f435-45a9-a685-e2d8b9047c32" providerId="ADAL" clId="{FCF6002D-E6C9-4780-9D5B-8CE9A2D0D6BE}" dt="2023-06-05T00:02:48.267" v="358" actId="20577"/>
      <pc:docMkLst>
        <pc:docMk/>
      </pc:docMkLst>
      <pc:sldChg chg="modSp mod">
        <pc:chgData name="Orders KR" userId="1a415e1d-f435-45a9-a685-e2d8b9047c32" providerId="ADAL" clId="{FCF6002D-E6C9-4780-9D5B-8CE9A2D0D6BE}" dt="2023-06-05T00:02:48.267" v="358" actId="20577"/>
        <pc:sldMkLst>
          <pc:docMk/>
          <pc:sldMk cId="3426754923" sldId="611"/>
        </pc:sldMkLst>
        <pc:spChg chg="mod">
          <ac:chgData name="Orders KR" userId="1a415e1d-f435-45a9-a685-e2d8b9047c32" providerId="ADAL" clId="{FCF6002D-E6C9-4780-9D5B-8CE9A2D0D6BE}" dt="2023-06-04T23:57:41.239" v="154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Orders KR" userId="1a415e1d-f435-45a9-a685-e2d8b9047c32" providerId="ADAL" clId="{FCF6002D-E6C9-4780-9D5B-8CE9A2D0D6BE}" dt="2023-06-04T23:57:39.760" v="152"/>
          <ac:spMkLst>
            <pc:docMk/>
            <pc:sldMk cId="3426754923" sldId="611"/>
            <ac:spMk id="29" creationId="{8484D90C-DBF4-B9D9-83A3-77F2315749FA}"/>
          </ac:spMkLst>
        </pc:spChg>
        <pc:graphicFrameChg chg="mod modGraphic">
          <ac:chgData name="Orders KR" userId="1a415e1d-f435-45a9-a685-e2d8b9047c32" providerId="ADAL" clId="{FCF6002D-E6C9-4780-9D5B-8CE9A2D0D6BE}" dt="2023-06-05T00:02:48.267" v="358" actId="20577"/>
          <ac:graphicFrameMkLst>
            <pc:docMk/>
            <pc:sldMk cId="3426754923" sldId="611"/>
            <ac:graphicFrameMk id="21" creationId="{3D0B9901-0AEA-28F1-0FEE-B6E27488074C}"/>
          </ac:graphicFrameMkLst>
        </pc:graphicFrameChg>
      </pc:sldChg>
    </pc:docChg>
  </pc:docChgLst>
  <pc:docChgLst>
    <pc:chgData name="Dongmyeong Kim" userId="d517eb38-f897-4a85-b305-3233dcf5c226" providerId="ADAL" clId="{C2DB2AE4-BABD-4B3B-AD0F-F8D8923EC243}"/>
    <pc:docChg chg="undo custSel mod modSld">
      <pc:chgData name="Dongmyeong Kim" userId="d517eb38-f897-4a85-b305-3233dcf5c226" providerId="ADAL" clId="{C2DB2AE4-BABD-4B3B-AD0F-F8D8923EC243}" dt="2023-09-07T23:54:40.135" v="3383" actId="20577"/>
      <pc:docMkLst>
        <pc:docMk/>
      </pc:docMkLst>
      <pc:sldChg chg="modSp mod">
        <pc:chgData name="Dongmyeong Kim" userId="d517eb38-f897-4a85-b305-3233dcf5c226" providerId="ADAL" clId="{C2DB2AE4-BABD-4B3B-AD0F-F8D8923EC243}" dt="2023-09-07T23:54:40.135" v="3383" actId="20577"/>
        <pc:sldMkLst>
          <pc:docMk/>
          <pc:sldMk cId="3426754923" sldId="611"/>
        </pc:sldMkLst>
        <pc:spChg chg="mod">
          <ac:chgData name="Dongmyeong Kim" userId="d517eb38-f897-4a85-b305-3233dcf5c226" providerId="ADAL" clId="{C2DB2AE4-BABD-4B3B-AD0F-F8D8923EC243}" dt="2023-09-07T23:52:09.576" v="3206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Dongmyeong Kim" userId="d517eb38-f897-4a85-b305-3233dcf5c226" providerId="ADAL" clId="{C2DB2AE4-BABD-4B3B-AD0F-F8D8923EC243}" dt="2023-09-04T00:01:35.019" v="2868" actId="20577"/>
          <ac:spMkLst>
            <pc:docMk/>
            <pc:sldMk cId="3426754923" sldId="611"/>
            <ac:spMk id="29" creationId="{8484D90C-DBF4-B9D9-83A3-77F2315749FA}"/>
          </ac:spMkLst>
        </pc:spChg>
        <pc:graphicFrameChg chg="modGraphic">
          <ac:chgData name="Dongmyeong Kim" userId="d517eb38-f897-4a85-b305-3233dcf5c226" providerId="ADAL" clId="{C2DB2AE4-BABD-4B3B-AD0F-F8D8923EC243}" dt="2023-09-07T23:54:40.135" v="3383" actId="20577"/>
          <ac:graphicFrameMkLst>
            <pc:docMk/>
            <pc:sldMk cId="3426754923" sldId="611"/>
            <ac:graphicFrameMk id="21" creationId="{3D0B9901-0AEA-28F1-0FEE-B6E27488074C}"/>
          </ac:graphicFrameMkLst>
        </pc:graphicFrameChg>
        <pc:picChg chg="mod">
          <ac:chgData name="Dongmyeong Kim" userId="d517eb38-f897-4a85-b305-3233dcf5c226" providerId="ADAL" clId="{C2DB2AE4-BABD-4B3B-AD0F-F8D8923EC243}" dt="2023-08-31T23:46:57.987" v="2538" actId="1076"/>
          <ac:picMkLst>
            <pc:docMk/>
            <pc:sldMk cId="3426754923" sldId="611"/>
            <ac:picMk id="34" creationId="{A1AEB4B4-3493-81DA-1A35-6A87BBC18E28}"/>
          </ac:picMkLst>
        </pc:picChg>
      </pc:sldChg>
    </pc:docChg>
  </pc:docChgLst>
  <pc:docChgLst>
    <pc:chgData name="Ravi Sahu" userId="ce688131-5913-4f6d-867a-08fe1422cb1d" providerId="ADAL" clId="{41F23CBF-7DC1-7046-BB49-FD52DF2B010A}"/>
    <pc:docChg chg="delSld">
      <pc:chgData name="Ravi Sahu" userId="ce688131-5913-4f6d-867a-08fe1422cb1d" providerId="ADAL" clId="{41F23CBF-7DC1-7046-BB49-FD52DF2B010A}" dt="2022-11-22T14:45:14.612" v="0" actId="2696"/>
      <pc:docMkLst>
        <pc:docMk/>
      </pc:docMkLst>
      <pc:sldChg chg="del">
        <pc:chgData name="Ravi Sahu" userId="ce688131-5913-4f6d-867a-08fe1422cb1d" providerId="ADAL" clId="{41F23CBF-7DC1-7046-BB49-FD52DF2B010A}" dt="2022-11-22T14:45:14.612" v="0" actId="2696"/>
        <pc:sldMkLst>
          <pc:docMk/>
          <pc:sldMk cId="2664244219" sldId="610"/>
        </pc:sldMkLst>
      </pc:sldChg>
    </pc:docChg>
  </pc:docChgLst>
  <pc:docChgLst>
    <pc:chgData name="Dongmyeong Kim" userId="S::dongmyeong.kim@hear.com::d517eb38-f897-4a85-b305-3233dcf5c226" providerId="AD" clId="Web-{59263ADC-8586-453B-A219-6F78F33702F6}"/>
    <pc:docChg chg="modSld">
      <pc:chgData name="Dongmyeong Kim" userId="S::dongmyeong.kim@hear.com::d517eb38-f897-4a85-b305-3233dcf5c226" providerId="AD" clId="Web-{59263ADC-8586-453B-A219-6F78F33702F6}" dt="2022-12-22T14:46:07.089" v="162"/>
      <pc:docMkLst>
        <pc:docMk/>
      </pc:docMkLst>
      <pc:sldChg chg="modSp">
        <pc:chgData name="Dongmyeong Kim" userId="S::dongmyeong.kim@hear.com::d517eb38-f897-4a85-b305-3233dcf5c226" providerId="AD" clId="Web-{59263ADC-8586-453B-A219-6F78F33702F6}" dt="2022-12-22T14:46:07.089" v="162"/>
        <pc:sldMkLst>
          <pc:docMk/>
          <pc:sldMk cId="3426754923" sldId="611"/>
        </pc:sldMkLst>
        <pc:spChg chg="mod">
          <ac:chgData name="Dongmyeong Kim" userId="S::dongmyeong.kim@hear.com::d517eb38-f897-4a85-b305-3233dcf5c226" providerId="AD" clId="Web-{59263ADC-8586-453B-A219-6F78F33702F6}" dt="2022-12-22T14:44:55.400" v="2" actId="20577"/>
          <ac:spMkLst>
            <pc:docMk/>
            <pc:sldMk cId="3426754923" sldId="611"/>
            <ac:spMk id="23" creationId="{1A9FABBC-2413-B47B-32E8-4489F42DFA1F}"/>
          </ac:spMkLst>
        </pc:spChg>
        <pc:graphicFrameChg chg="mod modGraphic">
          <ac:chgData name="Dongmyeong Kim" userId="S::dongmyeong.kim@hear.com::d517eb38-f897-4a85-b305-3233dcf5c226" providerId="AD" clId="Web-{59263ADC-8586-453B-A219-6F78F33702F6}" dt="2022-12-22T14:46:07.089" v="162"/>
          <ac:graphicFrameMkLst>
            <pc:docMk/>
            <pc:sldMk cId="3426754923" sldId="611"/>
            <ac:graphicFrameMk id="21" creationId="{3D0B9901-0AEA-28F1-0FEE-B6E27488074C}"/>
          </ac:graphicFrameMkLst>
        </pc:graphicFrameChg>
      </pc:sldChg>
    </pc:docChg>
  </pc:docChgLst>
  <pc:docChgLst>
    <pc:chgData name="Dongmyeong Kim" userId="d517eb38-f897-4a85-b305-3233dcf5c226" providerId="ADAL" clId="{C5209064-C04E-4589-956D-93D97AAA30D7}"/>
    <pc:docChg chg="undo custSel addSld delSld modSld">
      <pc:chgData name="Dongmyeong Kim" userId="d517eb38-f897-4a85-b305-3233dcf5c226" providerId="ADAL" clId="{C5209064-C04E-4589-956D-93D97AAA30D7}" dt="2023-12-04T00:07:00.385" v="7711" actId="47"/>
      <pc:docMkLst>
        <pc:docMk/>
      </pc:docMkLst>
      <pc:sldChg chg="modSp del mod">
        <pc:chgData name="Dongmyeong Kim" userId="d517eb38-f897-4a85-b305-3233dcf5c226" providerId="ADAL" clId="{C5209064-C04E-4589-956D-93D97AAA30D7}" dt="2023-11-30T23:55:55.557" v="7429" actId="47"/>
        <pc:sldMkLst>
          <pc:docMk/>
          <pc:sldMk cId="3426754923" sldId="611"/>
        </pc:sldMkLst>
        <pc:spChg chg="mod">
          <ac:chgData name="Dongmyeong Kim" userId="d517eb38-f897-4a85-b305-3233dcf5c226" providerId="ADAL" clId="{C5209064-C04E-4589-956D-93D97AAA30D7}" dt="2023-11-30T23:38:09.378" v="7420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Dongmyeong Kim" userId="d517eb38-f897-4a85-b305-3233dcf5c226" providerId="ADAL" clId="{C5209064-C04E-4589-956D-93D97AAA30D7}" dt="2023-11-26T23:58:28.463" v="7011"/>
          <ac:spMkLst>
            <pc:docMk/>
            <pc:sldMk cId="3426754923" sldId="611"/>
            <ac:spMk id="29" creationId="{8484D90C-DBF4-B9D9-83A3-77F2315749FA}"/>
          </ac:spMkLst>
        </pc:spChg>
        <pc:graphicFrameChg chg="mod modGraphic">
          <ac:chgData name="Dongmyeong Kim" userId="d517eb38-f897-4a85-b305-3233dcf5c226" providerId="ADAL" clId="{C5209064-C04E-4589-956D-93D97AAA30D7}" dt="2023-11-30T23:55:45.342" v="7427"/>
          <ac:graphicFrameMkLst>
            <pc:docMk/>
            <pc:sldMk cId="3426754923" sldId="611"/>
            <ac:graphicFrameMk id="21" creationId="{3D0B9901-0AEA-28F1-0FEE-B6E27488074C}"/>
          </ac:graphicFrameMkLst>
        </pc:graphicFrameChg>
        <pc:graphicFrameChg chg="modGraphic">
          <ac:chgData name="Dongmyeong Kim" userId="d517eb38-f897-4a85-b305-3233dcf5c226" providerId="ADAL" clId="{C5209064-C04E-4589-956D-93D97AAA30D7}" dt="2023-10-10T00:38:52.298" v="1899" actId="2164"/>
          <ac:graphicFrameMkLst>
            <pc:docMk/>
            <pc:sldMk cId="3426754923" sldId="611"/>
            <ac:graphicFrameMk id="28" creationId="{6D13136D-29FD-0967-E43F-624CB745A027}"/>
          </ac:graphicFrameMkLst>
        </pc:graphicFrameChg>
        <pc:picChg chg="mod">
          <ac:chgData name="Dongmyeong Kim" userId="d517eb38-f897-4a85-b305-3233dcf5c226" providerId="ADAL" clId="{C5209064-C04E-4589-956D-93D97AAA30D7}" dt="2023-10-18T23:53:30.565" v="2431" actId="1076"/>
          <ac:picMkLst>
            <pc:docMk/>
            <pc:sldMk cId="3426754923" sldId="611"/>
            <ac:picMk id="34" creationId="{A1AEB4B4-3493-81DA-1A35-6A87BBC18E28}"/>
          </ac:picMkLst>
        </pc:picChg>
      </pc:sldChg>
      <pc:sldChg chg="modSp add del mod">
        <pc:chgData name="Dongmyeong Kim" userId="d517eb38-f897-4a85-b305-3233dcf5c226" providerId="ADAL" clId="{C5209064-C04E-4589-956D-93D97AAA30D7}" dt="2023-12-04T00:07:00.385" v="7711" actId="47"/>
        <pc:sldMkLst>
          <pc:docMk/>
          <pc:sldMk cId="3277861738" sldId="612"/>
        </pc:sldMkLst>
        <pc:spChg chg="mod">
          <ac:chgData name="Dongmyeong Kim" userId="d517eb38-f897-4a85-b305-3233dcf5c226" providerId="ADAL" clId="{C5209064-C04E-4589-956D-93D97AAA30D7}" dt="2023-12-04T00:04:52.900" v="7440" actId="20577"/>
          <ac:spMkLst>
            <pc:docMk/>
            <pc:sldMk cId="3277861738" sldId="612"/>
            <ac:spMk id="23" creationId="{1A9FABBC-2413-B47B-32E8-4489F42DFA1F}"/>
          </ac:spMkLst>
        </pc:spChg>
        <pc:graphicFrameChg chg="mod modGraphic">
          <ac:chgData name="Dongmyeong Kim" userId="d517eb38-f897-4a85-b305-3233dcf5c226" providerId="ADAL" clId="{C5209064-C04E-4589-956D-93D97AAA30D7}" dt="2023-12-04T00:05:15.048" v="7445"/>
          <ac:graphicFrameMkLst>
            <pc:docMk/>
            <pc:sldMk cId="3277861738" sldId="612"/>
            <ac:graphicFrameMk id="21" creationId="{3D0B9901-0AEA-28F1-0FEE-B6E27488074C}"/>
          </ac:graphicFrameMkLst>
        </pc:graphicFrameChg>
      </pc:sldChg>
      <pc:sldChg chg="new del">
        <pc:chgData name="Dongmyeong Kim" userId="d517eb38-f897-4a85-b305-3233dcf5c226" providerId="ADAL" clId="{C5209064-C04E-4589-956D-93D97AAA30D7}" dt="2023-11-30T23:55:26.377" v="7422" actId="680"/>
        <pc:sldMkLst>
          <pc:docMk/>
          <pc:sldMk cId="3979806904" sldId="612"/>
        </pc:sldMkLst>
      </pc:sldChg>
      <pc:sldChg chg="modSp add mod">
        <pc:chgData name="Dongmyeong Kim" userId="d517eb38-f897-4a85-b305-3233dcf5c226" providerId="ADAL" clId="{C5209064-C04E-4589-956D-93D97AAA30D7}" dt="2023-12-04T00:06:54.300" v="7710"/>
        <pc:sldMkLst>
          <pc:docMk/>
          <pc:sldMk cId="3646744712" sldId="613"/>
        </pc:sldMkLst>
        <pc:spChg chg="mod">
          <ac:chgData name="Dongmyeong Kim" userId="d517eb38-f897-4a85-b305-3233dcf5c226" providerId="ADAL" clId="{C5209064-C04E-4589-956D-93D97AAA30D7}" dt="2023-12-04T00:06:54.300" v="7710"/>
          <ac:spMkLst>
            <pc:docMk/>
            <pc:sldMk cId="3646744712" sldId="613"/>
            <ac:spMk id="29" creationId="{8484D90C-DBF4-B9D9-83A3-77F2315749FA}"/>
          </ac:spMkLst>
        </pc:spChg>
        <pc:graphicFrameChg chg="mod modGraphic">
          <ac:chgData name="Dongmyeong Kim" userId="d517eb38-f897-4a85-b305-3233dcf5c226" providerId="ADAL" clId="{C5209064-C04E-4589-956D-93D97AAA30D7}" dt="2023-12-04T00:05:59.742" v="7504" actId="20577"/>
          <ac:graphicFrameMkLst>
            <pc:docMk/>
            <pc:sldMk cId="3646744712" sldId="613"/>
            <ac:graphicFrameMk id="21" creationId="{3D0B9901-0AEA-28F1-0FEE-B6E27488074C}"/>
          </ac:graphicFrameMkLst>
        </pc:graphicFrameChg>
      </pc:sldChg>
      <pc:sldChg chg="new del">
        <pc:chgData name="Dongmyeong Kim" userId="d517eb38-f897-4a85-b305-3233dcf5c226" providerId="ADAL" clId="{C5209064-C04E-4589-956D-93D97AAA30D7}" dt="2023-12-04T00:05:01.257" v="7442" actId="680"/>
        <pc:sldMkLst>
          <pc:docMk/>
          <pc:sldMk cId="3896549250" sldId="61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35FC249-E918-42E4-86E0-FCDB2713C9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돋움" panose="020B0600000101010101" pitchFamily="34" charset="-127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ECEE898-D8E9-484B-8DE8-719210AF23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A01AF8-A2C0-422B-BCD6-E6CF387B4756}" type="datetimeFigureOut">
              <a:rPr lang="de-DE" smtClean="0">
                <a:latin typeface="돋움" panose="020B0600000101010101" pitchFamily="34" charset="-127"/>
              </a:rPr>
              <a:t>04.12.2023</a:t>
            </a:fld>
            <a:endParaRPr lang="de-DE" dirty="0">
              <a:latin typeface="돋움" panose="020B0600000101010101" pitchFamily="34" charset="-127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6FD47C-CF58-4DCF-98C7-518CCD6697F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돋움" panose="020B0600000101010101" pitchFamily="34" charset="-127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3A0D09-0904-4DDB-A9CC-4D0EF4AF34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7F3685-3769-4904-96F0-89BA24FDF168}" type="slidenum">
              <a:rPr lang="de-DE" smtClean="0">
                <a:latin typeface="돋움" panose="020B0600000101010101" pitchFamily="34" charset="-127"/>
              </a:rPr>
              <a:t>‹#›</a:t>
            </a:fld>
            <a:endParaRPr lang="de-DE" dirty="0">
              <a:latin typeface="돋움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919610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돋움" panose="020B0600000101010101" pitchFamily="34" charset="-127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돋움" panose="020B0600000101010101" pitchFamily="34" charset="-127"/>
              </a:defRPr>
            </a:lvl1pPr>
          </a:lstStyle>
          <a:p>
            <a:fld id="{41623B20-DA81-4F0B-808A-8006ECA2A20F}" type="datetimeFigureOut">
              <a:rPr lang="de-DE" smtClean="0"/>
              <a:pPr/>
              <a:t>04.12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돋움" panose="020B0600000101010101" pitchFamily="34" charset="-127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돋움" panose="020B0600000101010101" pitchFamily="34" charset="-127"/>
              </a:defRPr>
            </a:lvl1pPr>
          </a:lstStyle>
          <a:p>
            <a:fld id="{BEE5F090-5385-4A06-ACA5-BF80832F3A8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31212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1pPr>
    <a:lvl2pPr marL="1306266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2pPr>
    <a:lvl3pPr marL="2612532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3pPr>
    <a:lvl4pPr marL="3918798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4pPr>
    <a:lvl5pPr marL="5225064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5pPr>
    <a:lvl6pPr marL="6531331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6pPr>
    <a:lvl7pPr marL="7837597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7pPr>
    <a:lvl8pPr marL="9143863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8pPr>
    <a:lvl9pPr marL="10450129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E5F090-5385-4A06-ACA5-BF80832F3A8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0562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3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005482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5C64447-8E0D-4E8C-A8AB-D6B7A0C02C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36299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D2B8D557-79A1-4154-B231-03F66F272616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/>
              <a:t>Title </a:t>
            </a:r>
            <a:r>
              <a:rPr lang="en-US" noProof="0"/>
              <a:t>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D20D97D6-ECB9-004B-BA6A-145531B738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8174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43562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5C64447-8E0D-4E8C-A8AB-D6B7A0C02C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36299"/>
          </a:xfrm>
          <a:prstGeom prst="rect">
            <a:avLst/>
          </a:prstGeom>
        </p:spPr>
      </p:pic>
      <p:sp>
        <p:nvSpPr>
          <p:cNvPr id="14" name="Freeform 11">
            <a:extLst>
              <a:ext uri="{FF2B5EF4-FFF2-40B4-BE49-F238E27FC236}">
                <a16:creationId xmlns:a16="http://schemas.microsoft.com/office/drawing/2014/main" id="{11AF76BE-B6B0-4EDE-9A87-949995A7216A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5" name="Foliennummernplatzhalter 8">
            <a:extLst>
              <a:ext uri="{FF2B5EF4-FFF2-40B4-BE49-F238E27FC236}">
                <a16:creationId xmlns:a16="http://schemas.microsoft.com/office/drawing/2014/main" id="{BF456258-E2F6-446C-BF13-7D35E9008F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1" name="Grafik 11">
            <a:extLst>
              <a:ext uri="{FF2B5EF4-FFF2-40B4-BE49-F238E27FC236}">
                <a16:creationId xmlns:a16="http://schemas.microsoft.com/office/drawing/2014/main" id="{8D0E7F50-9A62-4368-926A-C967969E5B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5944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36133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D040F768-B2ED-4F3C-BAF3-E6E21832BC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6"/>
          <a:stretch/>
        </p:blipFill>
        <p:spPr>
          <a:xfrm>
            <a:off x="-46443" y="-1"/>
            <a:ext cx="29307242" cy="16485324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D2B8D557-79A1-4154-B231-03F66F272616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FAFCCAE-A987-46B3-8A3A-538E3A7B95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067F4A29-561F-4878-A0A3-4D94F757AE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866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591882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Auto, Person, Frau, draußen enthält.&#10;&#10;Automatisch generierte Beschreibung">
            <a:extLst>
              <a:ext uri="{FF2B5EF4-FFF2-40B4-BE49-F238E27FC236}">
                <a16:creationId xmlns:a16="http://schemas.microsoft.com/office/drawing/2014/main" id="{BD396483-D12B-4C68-8F09-3A2C756B90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53997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F0CFBF5C-152E-4226-91F4-F546425D1DEB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C592FFF-EF63-4242-ADFE-0F4D7DA83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9E14B1D0-B6CA-4886-80FE-ACE650ED79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384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331560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2">
            <a:extLst>
              <a:ext uri="{FF2B5EF4-FFF2-40B4-BE49-F238E27FC236}">
                <a16:creationId xmlns:a16="http://schemas.microsoft.com/office/drawing/2014/main" id="{3A260856-221A-487C-9C6B-AD0A43A599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5F7A6C5E-AE67-4558-9018-752A1BDF3BE9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1D9D09E-326F-4AC8-A757-4F505C4085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490B7A19-0B46-458F-B39A-CA07E11C5E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1838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48726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2">
            <a:extLst>
              <a:ext uri="{FF2B5EF4-FFF2-40B4-BE49-F238E27FC236}">
                <a16:creationId xmlns:a16="http://schemas.microsoft.com/office/drawing/2014/main" id="{CE33D56D-1A68-4B77-AE9C-79B4A7D66D9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4328C1D1-6092-4955-939B-C7C190E5A9B3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F699729-C952-4C1E-9357-C7D3C7C89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858150B0-7085-4226-A849-74E1267317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048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218034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>
            <a:extLst>
              <a:ext uri="{FF2B5EF4-FFF2-40B4-BE49-F238E27FC236}">
                <a16:creationId xmlns:a16="http://schemas.microsoft.com/office/drawing/2014/main" id="{64621A4C-7675-48D7-B3FD-8C4BB0B461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29300198" cy="13930678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2119C221-62C9-4660-BE4B-30AB3BCC6027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A9189F4-F9FC-4661-A2B0-AB5365DD2E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5426898C-2551-46C9-8BE3-9601331F62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462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02699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7">
            <a:extLst>
              <a:ext uri="{FF2B5EF4-FFF2-40B4-BE49-F238E27FC236}">
                <a16:creationId xmlns:a16="http://schemas.microsoft.com/office/drawing/2014/main" id="{3EEC1703-AD49-4D71-AC30-5C2BD9CA9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71952"/>
            <a:ext cx="29260800" cy="16387248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21A6145C-69AF-4139-92DB-9699C434F99D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861AD03F-434B-4425-8F3C-B6E0570910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4" name="Grafik 11">
            <a:extLst>
              <a:ext uri="{FF2B5EF4-FFF2-40B4-BE49-F238E27FC236}">
                <a16:creationId xmlns:a16="http://schemas.microsoft.com/office/drawing/2014/main" id="{4779DE34-669C-462A-826D-1669C552DDA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289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4982002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0">
            <a:extLst>
              <a:ext uri="{FF2B5EF4-FFF2-40B4-BE49-F238E27FC236}">
                <a16:creationId xmlns:a16="http://schemas.microsoft.com/office/drawing/2014/main" id="{8CFA3B3D-146E-4FC8-8C92-C2CC7A717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96" y="22167"/>
            <a:ext cx="29200704" cy="16164742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23129EA0-2CF7-4316-A3CE-784A704132DA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313B3B20-0DAA-49FE-AE51-BF147CF823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1" name="Grafik 11">
            <a:extLst>
              <a:ext uri="{FF2B5EF4-FFF2-40B4-BE49-F238E27FC236}">
                <a16:creationId xmlns:a16="http://schemas.microsoft.com/office/drawing/2014/main" id="{2E6476C3-B66B-49AE-92F4-734037FA6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062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6">
            <a:extLst>
              <a:ext uri="{FF2B5EF4-FFF2-40B4-BE49-F238E27FC236}">
                <a16:creationId xmlns:a16="http://schemas.microsoft.com/office/drawing/2014/main" id="{BB38B223-EA10-4CF0-8A20-7C441A0C82BA}"/>
              </a:ext>
            </a:extLst>
          </p:cNvPr>
          <p:cNvSpPr/>
          <p:nvPr userDrawn="1"/>
        </p:nvSpPr>
        <p:spPr>
          <a:xfrm>
            <a:off x="0" y="15901563"/>
            <a:ext cx="29260800" cy="557638"/>
          </a:xfrm>
          <a:custGeom>
            <a:avLst/>
            <a:gdLst>
              <a:gd name="connsiteX0" fmla="*/ 0 w 9144000"/>
              <a:gd name="connsiteY0" fmla="*/ 0 h 232349"/>
              <a:gd name="connsiteX1" fmla="*/ 9144000 w 9144000"/>
              <a:gd name="connsiteY1" fmla="*/ 0 h 232349"/>
              <a:gd name="connsiteX2" fmla="*/ 9144000 w 9144000"/>
              <a:gd name="connsiteY2" fmla="*/ 232349 h 232349"/>
              <a:gd name="connsiteX3" fmla="*/ 0 w 9144000"/>
              <a:gd name="connsiteY3" fmla="*/ 232349 h 232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32349">
                <a:moveTo>
                  <a:pt x="0" y="0"/>
                </a:moveTo>
                <a:lnTo>
                  <a:pt x="9144000" y="0"/>
                </a:lnTo>
                <a:lnTo>
                  <a:pt x="9144000" y="232349"/>
                </a:lnTo>
                <a:lnTo>
                  <a:pt x="0" y="232349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3B36431-66C0-4E00-8BBE-E0D27CE0D5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D88538-B4A5-457C-9143-D0EA448CBBBB}" type="slidenum">
              <a:rPr lang="de-DE" smtClean="0"/>
              <a:pPr/>
              <a:t>‹#›</a:t>
            </a:fld>
            <a:endParaRPr lang="de-DE" sz="1920"/>
          </a:p>
        </p:txBody>
      </p:sp>
    </p:spTree>
    <p:extLst>
      <p:ext uri="{BB962C8B-B14F-4D97-AF65-F5344CB8AC3E}">
        <p14:creationId xmlns:p14="http://schemas.microsoft.com/office/powerpoint/2010/main" val="29368479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A316AF-E1A8-44C6-ACD3-45DC58EE48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765004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0A316AF-E1A8-44C6-ACD3-45DC58EE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2">
            <a:extLst>
              <a:ext uri="{FF2B5EF4-FFF2-40B4-BE49-F238E27FC236}">
                <a16:creationId xmlns:a16="http://schemas.microsoft.com/office/drawing/2014/main" id="{1EEFCEC6-4992-4953-964B-384E914C7834}"/>
              </a:ext>
            </a:extLst>
          </p:cNvPr>
          <p:cNvSpPr/>
          <p:nvPr/>
        </p:nvSpPr>
        <p:spPr>
          <a:xfrm>
            <a:off x="-16816" y="-12611"/>
            <a:ext cx="29329152" cy="12418970"/>
          </a:xfrm>
          <a:custGeom>
            <a:avLst/>
            <a:gdLst>
              <a:gd name="connsiteX0" fmla="*/ 0 w 9165360"/>
              <a:gd name="connsiteY0" fmla="*/ 0 h 5174571"/>
              <a:gd name="connsiteX1" fmla="*/ 9165360 w 9165360"/>
              <a:gd name="connsiteY1" fmla="*/ 0 h 5174571"/>
              <a:gd name="connsiteX2" fmla="*/ 9165360 w 9165360"/>
              <a:gd name="connsiteY2" fmla="*/ 4083875 h 5174571"/>
              <a:gd name="connsiteX3" fmla="*/ 0 w 9165360"/>
              <a:gd name="connsiteY3" fmla="*/ 5174571 h 51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5174571">
                <a:moveTo>
                  <a:pt x="0" y="0"/>
                </a:moveTo>
                <a:lnTo>
                  <a:pt x="9165360" y="0"/>
                </a:lnTo>
                <a:lnTo>
                  <a:pt x="9165360" y="4083875"/>
                </a:lnTo>
                <a:lnTo>
                  <a:pt x="0" y="5174571"/>
                </a:lnTo>
                <a:close/>
              </a:path>
            </a:pathLst>
          </a:custGeom>
          <a:gradFill>
            <a:gsLst>
              <a:gs pos="20000">
                <a:srgbClr val="0E2340"/>
              </a:gs>
              <a:gs pos="54000">
                <a:srgbClr val="112A4F"/>
              </a:gs>
              <a:gs pos="84000">
                <a:srgbClr val="1C477F"/>
              </a:gs>
              <a:gs pos="100000">
                <a:srgbClr val="265DA5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B2AD9D6-2E44-4F2C-8E65-6E01064C7A75}"/>
              </a:ext>
            </a:extLst>
          </p:cNvPr>
          <p:cNvSpPr txBox="1"/>
          <p:nvPr/>
        </p:nvSpPr>
        <p:spPr>
          <a:xfrm>
            <a:off x="2016000" y="1123200"/>
            <a:ext cx="21104640" cy="4112640"/>
          </a:xfrm>
          <a:prstGeom prst="rect">
            <a:avLst/>
          </a:prstGeom>
          <a:noFill/>
        </p:spPr>
        <p:txBody>
          <a:bodyPr wrap="square" lIns="432000" tIns="259200" rIns="432000" bIns="259200" rtlCol="0">
            <a:noAutofit/>
          </a:bodyPr>
          <a:lstStyle/>
          <a:p>
            <a:pPr rtl="0">
              <a:lnSpc>
                <a:spcPct val="80000"/>
              </a:lnSpc>
            </a:pPr>
            <a:r>
              <a:rPr lang="en-US" sz="12960" b="1" noProof="0" dirty="0">
                <a:solidFill>
                  <a:schemeClr val="bg1"/>
                </a:solidFill>
                <a:latin typeface="돋움" panose="020B0600000101010101" pitchFamily="34" charset="-127"/>
              </a:rPr>
              <a:t>Thank you!</a:t>
            </a: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285C0A52-A912-7D41-942B-26DE16BFD0F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081091" y="14176266"/>
            <a:ext cx="6595142" cy="22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201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0D6FFC-F121-471C-85D4-606C747119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752117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0D6FFC-F121-471C-85D4-606C747119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5C64447-8E0D-4E8C-A8AB-D6B7A0C02CC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6"/>
          <a:stretch/>
        </p:blipFill>
        <p:spPr>
          <a:xfrm>
            <a:off x="3" y="0"/>
            <a:ext cx="29260800" cy="16459200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4A0CCC7B-CCBE-490B-B69C-10309B0152DE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/>
              <a:t>Title </a:t>
            </a:r>
            <a:r>
              <a:rPr lang="en-US" noProof="0"/>
              <a:t>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10" name="Grafik 11">
            <a:extLst>
              <a:ext uri="{FF2B5EF4-FFF2-40B4-BE49-F238E27FC236}">
                <a16:creationId xmlns:a16="http://schemas.microsoft.com/office/drawing/2014/main" id="{FE64E405-D05B-4B4F-869C-454EDA1790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581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A39023-8A79-411B-9622-C3B665F5F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214145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A39023-8A79-411B-9622-C3B665F5F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Auto, Person, Frau, draußen enthält.&#10;&#10;Automatisch generierte Beschreibung">
            <a:extLst>
              <a:ext uri="{FF2B5EF4-FFF2-40B4-BE49-F238E27FC236}">
                <a16:creationId xmlns:a16="http://schemas.microsoft.com/office/drawing/2014/main" id="{28090990-3614-4BEE-B2BE-EA59F58FE2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53997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7738038A-F8BC-424E-A08E-8686CF7C7E71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A7513619-8E18-9F48-9C64-08A2A1B973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866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6A095B-084C-4747-9857-E4609B435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9929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6A095B-084C-4747-9857-E4609B4356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2">
            <a:extLst>
              <a:ext uri="{FF2B5EF4-FFF2-40B4-BE49-F238E27FC236}">
                <a16:creationId xmlns:a16="http://schemas.microsoft.com/office/drawing/2014/main" id="{72A33674-2DB1-6345-B776-5EA9A00DAA0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806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0B5C11-96BE-418D-8564-379633C2A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759023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0B5C11-96BE-418D-8564-379633C2A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2">
            <a:extLst>
              <a:ext uri="{FF2B5EF4-FFF2-40B4-BE49-F238E27FC236}">
                <a16:creationId xmlns:a16="http://schemas.microsoft.com/office/drawing/2014/main" id="{21BEA523-B867-0748-A743-F56B5DD7578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2460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10510A-0C13-47FF-8ADF-7F05687E4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785255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610510A-0C13-47FF-8ADF-7F05687E4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4">
            <a:extLst>
              <a:ext uri="{FF2B5EF4-FFF2-40B4-BE49-F238E27FC236}">
                <a16:creationId xmlns:a16="http://schemas.microsoft.com/office/drawing/2014/main" id="{DCCB8D3D-2384-454E-BA89-8016243C73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29300198" cy="13930678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668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EC7DB0-11FA-49CF-9090-EA12630D3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787375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EC7DB0-11FA-49CF-9090-EA12630D3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99B1F15-A1F2-4F2F-A512-F12AD436AA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71952"/>
            <a:ext cx="29260800" cy="16387248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597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EC7DB0-11FA-49CF-9090-EA12630D3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289724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EC7DB0-11FA-49CF-9090-EA12630D3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1D8D5E1B-1BD0-48B8-A3AE-B212F0E5B0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96" y="22167"/>
            <a:ext cx="29200704" cy="16164742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932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E686154-744D-4A1A-800F-012E85440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5287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E686154-744D-4A1A-800F-012E85440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6">
            <a:extLst>
              <a:ext uri="{FF2B5EF4-FFF2-40B4-BE49-F238E27FC236}">
                <a16:creationId xmlns:a16="http://schemas.microsoft.com/office/drawing/2014/main" id="{86CC0AD1-5423-44DA-84DF-86CCE6A27DD5}"/>
              </a:ext>
            </a:extLst>
          </p:cNvPr>
          <p:cNvSpPr/>
          <p:nvPr userDrawn="1"/>
        </p:nvSpPr>
        <p:spPr>
          <a:xfrm>
            <a:off x="0" y="15901563"/>
            <a:ext cx="29260800" cy="557638"/>
          </a:xfrm>
          <a:custGeom>
            <a:avLst/>
            <a:gdLst>
              <a:gd name="connsiteX0" fmla="*/ 0 w 9144000"/>
              <a:gd name="connsiteY0" fmla="*/ 0 h 232349"/>
              <a:gd name="connsiteX1" fmla="*/ 9144000 w 9144000"/>
              <a:gd name="connsiteY1" fmla="*/ 0 h 232349"/>
              <a:gd name="connsiteX2" fmla="*/ 9144000 w 9144000"/>
              <a:gd name="connsiteY2" fmla="*/ 232349 h 232349"/>
              <a:gd name="connsiteX3" fmla="*/ 0 w 9144000"/>
              <a:gd name="connsiteY3" fmla="*/ 232349 h 232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32349">
                <a:moveTo>
                  <a:pt x="0" y="0"/>
                </a:moveTo>
                <a:lnTo>
                  <a:pt x="9144000" y="0"/>
                </a:lnTo>
                <a:lnTo>
                  <a:pt x="9144000" y="232349"/>
                </a:lnTo>
                <a:lnTo>
                  <a:pt x="0" y="232349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52002" y="3628801"/>
            <a:ext cx="26956803" cy="11925156"/>
          </a:xfr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4320">
                <a:latin typeface="돋움" panose="020B0600000101010101" pitchFamily="34" charset="-127"/>
              </a:defRPr>
            </a:lvl1pPr>
            <a:lvl2pPr marL="647700" indent="-647700">
              <a:defRPr sz="4320">
                <a:latin typeface="돋움" panose="020B0600000101010101" pitchFamily="34" charset="-127"/>
              </a:defRPr>
            </a:lvl2pPr>
            <a:lvl3pPr marL="1714500" indent="-640080">
              <a:defRPr sz="4320">
                <a:latin typeface="돋움" panose="020B0600000101010101" pitchFamily="34" charset="-127"/>
              </a:defRPr>
            </a:lvl3pPr>
            <a:lvl4pPr>
              <a:spcBef>
                <a:spcPts val="5760"/>
              </a:spcBef>
              <a:defRPr sz="4320">
                <a:latin typeface="+mj-lt"/>
              </a:defRPr>
            </a:lvl4pPr>
            <a:lvl5pPr>
              <a:defRPr sz="4320">
                <a:latin typeface="+mj-lt"/>
              </a:defRPr>
            </a:lvl5pPr>
          </a:lstStyle>
          <a:p>
            <a:pPr lvl="0"/>
            <a:r>
              <a:rPr lang="en-US" dirty="0"/>
              <a:t>First level text in slide bod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DD32F12-AD72-4661-8949-BD599312C2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EB038FF7-24F7-E84D-B08A-B3C9883376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161AF35-B6E9-2642-B525-3A7067DDF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496438"/>
            <a:ext cx="21312000" cy="1821456"/>
          </a:xfrm>
        </p:spPr>
        <p:txBody>
          <a:bodyPr vert="horz" anchor="t"/>
          <a:lstStyle>
            <a:lvl1pPr>
              <a:lnSpc>
                <a:spcPct val="100000"/>
              </a:lnSpc>
              <a:defRPr b="1">
                <a:latin typeface="돋움" panose="020B0600000101010101" pitchFamily="34" charset="-127"/>
              </a:defRPr>
            </a:lvl1pPr>
          </a:lstStyle>
          <a:p>
            <a:r>
              <a:rPr lang="en-GB" dirty="0"/>
              <a:t>Action title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D2F0CC3-B69B-4DF4-84E1-7DFB32A5BB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2000" y="2605045"/>
            <a:ext cx="26956800" cy="736606"/>
          </a:xfrm>
        </p:spPr>
        <p:txBody>
          <a:bodyPr/>
          <a:lstStyle>
            <a:lvl1pPr>
              <a:defRPr sz="4800" b="0">
                <a:latin typeface="돋움" panose="020B0600000101010101" pitchFamily="34" charset="-127"/>
              </a:defRPr>
            </a:lvl1pPr>
          </a:lstStyle>
          <a:p>
            <a:pPr lvl="0"/>
            <a:r>
              <a:rPr lang="en-GB" dirty="0"/>
              <a:t>Slide topic</a:t>
            </a:r>
            <a:endParaRPr lang="en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6D717E5-D1D0-42C0-8D2D-11C3113956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2000" y="15882747"/>
            <a:ext cx="25216582" cy="591694"/>
          </a:xfrm>
        </p:spPr>
        <p:txBody>
          <a:bodyPr anchor="ctr"/>
          <a:lstStyle>
            <a:lvl1pPr>
              <a:defRPr sz="192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Footno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0841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B8A8F1-8477-4CFD-B765-F3C487350F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29698562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73" imgH="476" progId="TCLayout.ActiveDocument.1">
                  <p:embed/>
                </p:oleObj>
              </mc:Choice>
              <mc:Fallback>
                <p:oleObj name="think-cell Folie" r:id="rId22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B8A8F1-8477-4CFD-B765-F3C487350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52000" y="864001"/>
            <a:ext cx="21312000" cy="24776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2000" y="3628801"/>
            <a:ext cx="26956800" cy="11925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text in slide bod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525120" y="15901563"/>
            <a:ext cx="6583680" cy="55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920">
                <a:solidFill>
                  <a:schemeClr val="bg1"/>
                </a:solidFill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286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33" r:id="rId5"/>
    <p:sldLayoutId id="2147483731" r:id="rId6"/>
    <p:sldLayoutId id="2147483738" r:id="rId7"/>
    <p:sldLayoutId id="2147483739" r:id="rId8"/>
    <p:sldLayoutId id="2147483717" r:id="rId9"/>
    <p:sldLayoutId id="2147483741" r:id="rId10"/>
    <p:sldLayoutId id="2147483742" r:id="rId11"/>
    <p:sldLayoutId id="2147483743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40" r:id="rId18"/>
    <p:sldLayoutId id="2147483729" r:id="rId19"/>
  </p:sldLayoutIdLst>
  <p:hf hdr="0" ftr="0" dt="0"/>
  <p:txStyles>
    <p:titleStyle>
      <a:lvl1pPr algn="l" defTabSz="2194560" rtl="0" eaLnBrk="1" latinLnBrk="0" hangingPunct="1">
        <a:lnSpc>
          <a:spcPct val="80000"/>
        </a:lnSpc>
        <a:spcBef>
          <a:spcPct val="0"/>
        </a:spcBef>
        <a:buNone/>
        <a:defRPr sz="6240" b="1" kern="1200">
          <a:solidFill>
            <a:schemeClr val="tx1"/>
          </a:solidFill>
          <a:latin typeface="돋움" panose="020B0600000101010101" pitchFamily="34" charset="-127"/>
          <a:ea typeface="+mj-ea"/>
          <a:cs typeface="+mj-cs"/>
        </a:defRPr>
      </a:lvl1pPr>
    </p:titleStyle>
    <p:bodyStyle>
      <a:lvl1pPr marL="0" indent="0" algn="l" defTabSz="2194560" rtl="0" eaLnBrk="1" latinLnBrk="0" hangingPunct="1">
        <a:lnSpc>
          <a:spcPct val="100000"/>
        </a:lnSpc>
        <a:spcBef>
          <a:spcPts val="2880"/>
        </a:spcBef>
        <a:buFont typeface="Wingdings" panose="05000000000000000000" pitchFamily="2" charset="2"/>
        <a:buNone/>
        <a:defRPr sz="4320" b="0" kern="1200">
          <a:solidFill>
            <a:schemeClr val="tx1"/>
          </a:solidFill>
          <a:latin typeface="돋움" panose="020B0600000101010101" pitchFamily="34" charset="-127"/>
          <a:ea typeface="+mn-ea"/>
          <a:cs typeface="+mn-cs"/>
        </a:defRPr>
      </a:lvl1pPr>
      <a:lvl2pPr marL="647700" indent="-647700" algn="l" defTabSz="2194560" rtl="0" eaLnBrk="1" latinLnBrk="0" hangingPunct="1">
        <a:lnSpc>
          <a:spcPct val="100000"/>
        </a:lnSpc>
        <a:spcBef>
          <a:spcPts val="2880"/>
        </a:spcBef>
        <a:buFont typeface="Wingdings" panose="05000000000000000000" pitchFamily="2" charset="2"/>
        <a:buChar char="§"/>
        <a:defRPr sz="4320" kern="1200">
          <a:solidFill>
            <a:schemeClr val="tx1"/>
          </a:solidFill>
          <a:latin typeface="돋움" panose="020B0600000101010101" pitchFamily="34" charset="-127"/>
          <a:ea typeface="+mn-ea"/>
          <a:cs typeface="+mn-cs"/>
        </a:defRPr>
      </a:lvl2pPr>
      <a:lvl3pPr marL="1382400" indent="-691200" algn="l" defTabSz="2194560" rtl="0" eaLnBrk="1" latinLnBrk="0" hangingPunct="1">
        <a:lnSpc>
          <a:spcPct val="100000"/>
        </a:lnSpc>
        <a:spcBef>
          <a:spcPts val="2880"/>
        </a:spcBef>
        <a:buFont typeface="Wingdings" panose="05000000000000000000" pitchFamily="2" charset="2"/>
        <a:buChar char="§"/>
        <a:defRPr sz="4320" kern="1200">
          <a:solidFill>
            <a:schemeClr val="tx1"/>
          </a:solidFill>
          <a:latin typeface="돋움" panose="020B0600000101010101" pitchFamily="34" charset="-127"/>
          <a:ea typeface="+mn-ea"/>
          <a:cs typeface="+mn-cs"/>
        </a:defRPr>
      </a:lvl3pPr>
      <a:lvl4pPr marL="0" indent="0" algn="l" defTabSz="2194560" rtl="0" eaLnBrk="1" latinLnBrk="0" hangingPunct="1">
        <a:lnSpc>
          <a:spcPct val="100000"/>
        </a:lnSpc>
        <a:spcBef>
          <a:spcPts val="5760"/>
        </a:spcBef>
        <a:buFont typeface="Arial" panose="020B0604020202020204" pitchFamily="34" charset="0"/>
        <a:buNone/>
        <a:defRPr sz="432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219456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4320" kern="1200">
          <a:solidFill>
            <a:schemeClr val="tx1"/>
          </a:solidFill>
          <a:latin typeface="+mj-lt"/>
          <a:ea typeface="+mn-ea"/>
          <a:cs typeface="+mn-cs"/>
        </a:defRPr>
      </a:lvl5pPr>
      <a:lvl6pPr marL="0" indent="0" algn="l" defTabSz="219456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3360" kern="1200">
          <a:solidFill>
            <a:schemeClr val="tx1"/>
          </a:solidFill>
          <a:latin typeface="+mn-lt"/>
          <a:ea typeface="+mn-ea"/>
          <a:cs typeface="+mn-cs"/>
        </a:defRPr>
      </a:lvl6pPr>
      <a:lvl7pPr marL="475200" indent="-406080" algn="l" defTabSz="219456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7pPr>
      <a:lvl8pPr marL="1036800" indent="-587520" algn="l" defTabSz="2194560" rtl="0" eaLnBrk="1" latinLnBrk="0" hangingPunct="1">
        <a:lnSpc>
          <a:spcPct val="100000"/>
        </a:lnSpc>
        <a:spcBef>
          <a:spcPts val="480"/>
        </a:spcBef>
        <a:buFont typeface="Calibri" panose="020F0502020204030204" pitchFamily="34" charset="0"/>
        <a:buChar char="→"/>
        <a:defRPr sz="336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194560" rtl="0" eaLnBrk="1" latinLnBrk="0" hangingPunct="1">
        <a:lnSpc>
          <a:spcPct val="100000"/>
        </a:lnSpc>
        <a:spcBef>
          <a:spcPts val="4320"/>
        </a:spcBef>
        <a:buFont typeface="Arial" panose="020B0604020202020204" pitchFamily="34" charset="0"/>
        <a:buNone/>
        <a:defRPr sz="3360" b="1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109728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219456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329184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4pPr>
      <a:lvl5pPr marL="438912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5pPr>
      <a:lvl6pPr marL="548640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658368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768096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877824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18432" userDrawn="1">
          <p15:clr>
            <a:srgbClr val="F26B43"/>
          </p15:clr>
        </p15:guide>
        <p15:guide id="3" pos="723" userDrawn="1">
          <p15:clr>
            <a:srgbClr val="F26B43"/>
          </p15:clr>
        </p15:guide>
        <p15:guide id="4" pos="8851" userDrawn="1">
          <p15:clr>
            <a:srgbClr val="F26B43"/>
          </p15:clr>
        </p15:guide>
        <p15:guide id="5" pos="9578" userDrawn="1">
          <p15:clr>
            <a:srgbClr val="F26B43"/>
          </p15:clr>
        </p15:guide>
        <p15:guide id="6" pos="17706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10368" userDrawn="1">
          <p15:clr>
            <a:srgbClr val="F26B43"/>
          </p15:clr>
        </p15:guide>
        <p15:guide id="9" orient="horz" pos="542" userDrawn="1">
          <p15:clr>
            <a:srgbClr val="F26B43"/>
          </p15:clr>
        </p15:guide>
        <p15:guide id="10" orient="horz" pos="9823" userDrawn="1">
          <p15:clr>
            <a:srgbClr val="F26B43"/>
          </p15:clr>
        </p15:guide>
        <p15:guide id="11" orient="horz" pos="22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F6807E-7723-8AF3-4155-97D001137A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760891" y="15901563"/>
            <a:ext cx="1740218" cy="557638"/>
          </a:xfrm>
        </p:spPr>
        <p:txBody>
          <a:bodyPr/>
          <a:lstStyle/>
          <a:p>
            <a:fld id="{76D88538-B4A5-457C-9143-D0EA448CBBBB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627B20-7926-F604-B489-97114CAB56EE}"/>
              </a:ext>
            </a:extLst>
          </p:cNvPr>
          <p:cNvSpPr/>
          <p:nvPr/>
        </p:nvSpPr>
        <p:spPr>
          <a:xfrm>
            <a:off x="0" y="-72282"/>
            <a:ext cx="29260800" cy="16531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돋움" panose="020B0600000101010101" pitchFamily="34" charset="-127"/>
            </a:endParaRPr>
          </a:p>
        </p:txBody>
      </p:sp>
      <p:pic>
        <p:nvPicPr>
          <p:cNvPr id="9" name="Picture 8" descr="Shape, rectangle&#10;&#10;Description automatically generated">
            <a:extLst>
              <a:ext uri="{FF2B5EF4-FFF2-40B4-BE49-F238E27FC236}">
                <a16:creationId xmlns:a16="http://schemas.microsoft.com/office/drawing/2014/main" id="{CDC3D8F3-7795-DE56-D176-205E4BFB1F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283"/>
            <a:ext cx="29260800" cy="1653148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1AEB4B4-3493-81DA-1A35-6A87BBC18E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676"/>
            <a:ext cx="29389303" cy="1653148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ADB69A9C-C97D-84BF-F3B3-247C5280913D}"/>
              </a:ext>
            </a:extLst>
          </p:cNvPr>
          <p:cNvSpPr/>
          <p:nvPr/>
        </p:nvSpPr>
        <p:spPr>
          <a:xfrm>
            <a:off x="17941947" y="630181"/>
            <a:ext cx="10559162" cy="14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돋움" panose="020B0600000101010101" pitchFamily="34" charset="-127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FB169E-0BD0-7B49-6B2E-361208AB067F}"/>
              </a:ext>
            </a:extLst>
          </p:cNvPr>
          <p:cNvSpPr>
            <a:spLocks noChangeAspect="1"/>
          </p:cNvSpPr>
          <p:nvPr/>
        </p:nvSpPr>
        <p:spPr>
          <a:xfrm>
            <a:off x="19167565" y="796183"/>
            <a:ext cx="8107925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6600" b="1" dirty="0">
                <a:ea typeface="NanumSquare ExtraBold" panose="020B0600000101010101" pitchFamily="34" charset="-127"/>
                <a:cs typeface="Microsoft GothicNeo" panose="020B0500000101010101" pitchFamily="50" charset="-127"/>
              </a:rPr>
              <a:t>기간별 예약수 </a:t>
            </a:r>
            <a:r>
              <a:rPr lang="en-US" altLang="ko-KR" sz="6600" b="1" dirty="0">
                <a:ea typeface="NanumSquare ExtraBold" panose="020B0600000101010101" pitchFamily="34" charset="-127"/>
                <a:cs typeface="Microsoft GothicNeo" panose="020B0500000101010101" pitchFamily="50" charset="-127"/>
              </a:rPr>
              <a:t>TOP 10</a:t>
            </a:r>
            <a:endParaRPr lang="en-US" sz="6600" b="1" dirty="0">
              <a:ea typeface="NanumSquare ExtraBold" panose="020B0600000101010101" pitchFamily="34" charset="-127"/>
            </a:endParaRPr>
          </a:p>
        </p:txBody>
      </p:sp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3D0B9901-0AEA-28F1-0FEE-B6E2748807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077927"/>
              </p:ext>
            </p:extLst>
          </p:nvPr>
        </p:nvGraphicFramePr>
        <p:xfrm>
          <a:off x="17941947" y="3322164"/>
          <a:ext cx="10559162" cy="10154882"/>
        </p:xfrm>
        <a:graphic>
          <a:graphicData uri="http://schemas.openxmlformats.org/drawingml/2006/table">
            <a:tbl>
              <a:tblPr firstRow="1" bandRow="1">
                <a:tableStyleId>{0D051DFB-6FD7-4902-BC04-3D226E9CE90D}</a:tableStyleId>
              </a:tblPr>
              <a:tblGrid>
                <a:gridCol w="1306134">
                  <a:extLst>
                    <a:ext uri="{9D8B030D-6E8A-4147-A177-3AD203B41FA5}">
                      <a16:colId xmlns:a16="http://schemas.microsoft.com/office/drawing/2014/main" val="4056455740"/>
                    </a:ext>
                  </a:extLst>
                </a:gridCol>
                <a:gridCol w="3526298">
                  <a:extLst>
                    <a:ext uri="{9D8B030D-6E8A-4147-A177-3AD203B41FA5}">
                      <a16:colId xmlns:a16="http://schemas.microsoft.com/office/drawing/2014/main" val="1017269293"/>
                    </a:ext>
                  </a:extLst>
                </a:gridCol>
                <a:gridCol w="2774731">
                  <a:extLst>
                    <a:ext uri="{9D8B030D-6E8A-4147-A177-3AD203B41FA5}">
                      <a16:colId xmlns:a16="http://schemas.microsoft.com/office/drawing/2014/main" val="344213691"/>
                    </a:ext>
                  </a:extLst>
                </a:gridCol>
                <a:gridCol w="2951999">
                  <a:extLst>
                    <a:ext uri="{9D8B030D-6E8A-4147-A177-3AD203B41FA5}">
                      <a16:colId xmlns:a16="http://schemas.microsoft.com/office/drawing/2014/main" val="1296008699"/>
                    </a:ext>
                  </a:extLst>
                </a:gridCol>
              </a:tblGrid>
              <a:tr h="1072642">
                <a:tc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순위</a:t>
                      </a: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이름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누적 </a:t>
                      </a:r>
                      <a:r>
                        <a:rPr lang="ko-KR" altLang="en-US" dirty="0" err="1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예약수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일</a:t>
                      </a:r>
                      <a:r>
                        <a:rPr lang="en-US" altLang="ko-KR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 </a:t>
                      </a:r>
                      <a:r>
                        <a:rPr lang="ko-KR" altLang="en-US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평균</a:t>
                      </a:r>
                      <a:r>
                        <a:rPr lang="en-US" altLang="ko-KR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 </a:t>
                      </a:r>
                      <a:r>
                        <a:rPr lang="ko-KR" altLang="en-US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예약수</a:t>
                      </a:r>
                      <a:endParaRPr lang="en-US" altLang="ko-KR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(</a:t>
                      </a:r>
                      <a:r>
                        <a:rPr lang="ko-KR" altLang="en-US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특근일 제외</a:t>
                      </a:r>
                      <a:r>
                        <a:rPr lang="en-US" altLang="ko-KR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)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454308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</a:t>
                      </a:r>
                      <a:endParaRPr lang="en-US" altLang="ko-KR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이준구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26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0630024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2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 dirty="0" err="1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장택순</a:t>
                      </a:r>
                      <a:endParaRPr lang="ko-KR" altLang="en-US" sz="2880" kern="1200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  <a:cs typeface="+mn-cs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2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1830553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3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이승엽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8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2199203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4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윤여원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6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702089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5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정민교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976667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6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나경민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6096121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7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송바롬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530391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8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이승현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355189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9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이유진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9808497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0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ko-KR" altLang="en-US" sz="2880" kern="120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설찬수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b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2194560" rtl="0" eaLnBrk="1" fontAlgn="ctr" latinLnBrk="1" hangingPunct="1"/>
                      <a:r>
                        <a:rPr lang="en-US" altLang="ko-KR" sz="2880" kern="1200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  <a:cs typeface="+mn-cs"/>
                        </a:rPr>
                        <a:t>1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8425217"/>
                  </a:ext>
                </a:extLst>
              </a:tr>
            </a:tbl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CD33B719-BAAC-7E42-D03F-4353FA99D0B4}"/>
              </a:ext>
            </a:extLst>
          </p:cNvPr>
          <p:cNvSpPr/>
          <p:nvPr/>
        </p:nvSpPr>
        <p:spPr>
          <a:xfrm>
            <a:off x="17941947" y="2250949"/>
            <a:ext cx="10559162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돋움" panose="020B0600000101010101" pitchFamily="34" charset="-127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9FABBC-2413-B47B-32E8-4489F42DFA1F}"/>
              </a:ext>
            </a:extLst>
          </p:cNvPr>
          <p:cNvSpPr>
            <a:spLocks noChangeAspect="1"/>
          </p:cNvSpPr>
          <p:nvPr/>
        </p:nvSpPr>
        <p:spPr>
          <a:xfrm>
            <a:off x="19302442" y="2250949"/>
            <a:ext cx="8244565" cy="830997"/>
          </a:xfrm>
          <a:prstGeom prst="rect">
            <a:avLst/>
          </a:prstGeom>
          <a:noFill/>
        </p:spPr>
        <p:txBody>
          <a:bodyPr wrap="none" lIns="91440" tIns="45720" rIns="91440" bIns="45720" anchor="ctr" anchorCtr="1">
            <a:spAutoFit/>
          </a:bodyPr>
          <a:lstStyle/>
          <a:p>
            <a:pPr algn="l"/>
            <a:r>
              <a:rPr lang="ko-KR" altLang="en-US" sz="4800" b="1" dirty="0">
                <a:latin typeface="+mj-ea"/>
                <a:ea typeface="+mj-ea"/>
                <a:cs typeface="Microsoft GothicNeo"/>
              </a:rPr>
              <a:t>조회 기준 날짜 </a:t>
            </a:r>
            <a:r>
              <a:rPr lang="en-US" altLang="ko-KR" sz="4800" b="1" dirty="0">
                <a:latin typeface="+mj-ea"/>
                <a:ea typeface="+mj-ea"/>
                <a:cs typeface="Microsoft GothicNeo"/>
              </a:rPr>
              <a:t>: 12/01 – 12/0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800758-5B45-0AE5-AC1A-537AFDDAED44}"/>
              </a:ext>
            </a:extLst>
          </p:cNvPr>
          <p:cNvSpPr txBox="1"/>
          <p:nvPr/>
        </p:nvSpPr>
        <p:spPr>
          <a:xfrm>
            <a:off x="15161463" y="-202112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dirty="0" err="1">
              <a:latin typeface="돋움" panose="020B0600000101010101" pitchFamily="34" charset="-127"/>
            </a:endParaRPr>
          </a:p>
        </p:txBody>
      </p:sp>
      <p:graphicFrame>
        <p:nvGraphicFramePr>
          <p:cNvPr id="28" name="Table 28">
            <a:extLst>
              <a:ext uri="{FF2B5EF4-FFF2-40B4-BE49-F238E27FC236}">
                <a16:creationId xmlns:a16="http://schemas.microsoft.com/office/drawing/2014/main" id="{6D13136D-29FD-0967-E43F-624CB745A027}"/>
              </a:ext>
            </a:extLst>
          </p:cNvPr>
          <p:cNvGraphicFramePr>
            <a:graphicFrameLocks noGrp="1"/>
          </p:cNvGraphicFramePr>
          <p:nvPr/>
        </p:nvGraphicFramePr>
        <p:xfrm>
          <a:off x="9595192" y="630180"/>
          <a:ext cx="7587062" cy="4082491"/>
        </p:xfrm>
        <a:graphic>
          <a:graphicData uri="http://schemas.openxmlformats.org/drawingml/2006/table">
            <a:tbl>
              <a:tblPr firstRow="1" bandRow="1">
                <a:tableStyleId>{0D051DFB-6FD7-4902-BC04-3D226E9CE90D}</a:tableStyleId>
              </a:tblPr>
              <a:tblGrid>
                <a:gridCol w="3793531">
                  <a:extLst>
                    <a:ext uri="{9D8B030D-6E8A-4147-A177-3AD203B41FA5}">
                      <a16:colId xmlns:a16="http://schemas.microsoft.com/office/drawing/2014/main" val="2565348787"/>
                    </a:ext>
                  </a:extLst>
                </a:gridCol>
                <a:gridCol w="3793531">
                  <a:extLst>
                    <a:ext uri="{9D8B030D-6E8A-4147-A177-3AD203B41FA5}">
                      <a16:colId xmlns:a16="http://schemas.microsoft.com/office/drawing/2014/main" val="2639750088"/>
                    </a:ext>
                  </a:extLst>
                </a:gridCol>
              </a:tblGrid>
              <a:tr h="1363236">
                <a:tc gridSpan="2"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altLang="ko-KR" sz="6600" b="1" dirty="0">
                          <a:solidFill>
                            <a:schemeClr val="tx1"/>
                          </a:solidFill>
                          <a:latin typeface="+mn-lt"/>
                          <a:ea typeface="NanumSquare ExtraBold" panose="020B0600000101010101" pitchFamily="34" charset="-127"/>
                          <a:cs typeface="Microsoft GothicNeo" panose="020B0500000101010101" pitchFamily="50" charset="-127"/>
                        </a:rPr>
                        <a:t>Daily </a:t>
                      </a:r>
                      <a:r>
                        <a:rPr lang="ko-KR" altLang="en-US" sz="6600" b="1" dirty="0">
                          <a:solidFill>
                            <a:schemeClr val="tx1"/>
                          </a:solidFill>
                          <a:latin typeface="+mn-lt"/>
                          <a:ea typeface="NanumSquare ExtraBold" panose="020B0600000101010101" pitchFamily="34" charset="-127"/>
                          <a:cs typeface="Microsoft GothicNeo" panose="020B0500000101010101" pitchFamily="50" charset="-127"/>
                        </a:rPr>
                        <a:t>목표 예약수</a:t>
                      </a: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 anchorCtr="1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095728"/>
                  </a:ext>
                </a:extLst>
              </a:tr>
              <a:tr h="1345676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G1,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9</a:t>
                      </a:r>
                      <a:r>
                        <a:rPr lang="ko-KR" alt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개</a:t>
                      </a:r>
                      <a:endParaRPr lang="en-US" sz="4800" b="0" i="0" dirty="0">
                        <a:solidFill>
                          <a:schemeClr val="bg1"/>
                        </a:solidFill>
                        <a:latin typeface="+mn-lt"/>
                        <a:ea typeface="NanumSquare" panose="020B0600000101010101" pitchFamily="34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3416435"/>
                  </a:ext>
                </a:extLst>
              </a:tr>
              <a:tr h="1373579">
                <a:tc>
                  <a:txBody>
                    <a:bodyPr/>
                    <a:lstStyle/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G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7</a:t>
                      </a:r>
                      <a:r>
                        <a:rPr lang="ko-KR" alt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개</a:t>
                      </a:r>
                      <a:endParaRPr lang="en-US" sz="4800" b="0" i="0" dirty="0">
                        <a:solidFill>
                          <a:schemeClr val="bg1"/>
                        </a:solidFill>
                        <a:latin typeface="+mn-lt"/>
                        <a:ea typeface="NanumSquare" panose="020B0600000101010101" pitchFamily="34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0585313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8484D90C-DBF4-B9D9-83A3-77F2315749FA}"/>
              </a:ext>
            </a:extLst>
          </p:cNvPr>
          <p:cNvSpPr txBox="1"/>
          <p:nvPr/>
        </p:nvSpPr>
        <p:spPr>
          <a:xfrm>
            <a:off x="13443886" y="14865608"/>
            <a:ext cx="11447357" cy="111772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표를 이루기 위해서는 끈기와 인내심이 필요합니다</a:t>
            </a:r>
            <a:r>
              <a:rPr lang="en-US" altLang="ko-KR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ctr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3600" kern="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성공하는 사람들은 목표를 포기하지 않고 끝까지 노력합니다</a:t>
            </a:r>
            <a:r>
              <a:rPr lang="en-US" altLang="ko-KR" sz="3600" kern="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ctr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- </a:t>
            </a:r>
            <a:r>
              <a:rPr lang="ko-KR" altLang="en-US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존 </a:t>
            </a:r>
            <a:r>
              <a:rPr lang="en-US" altLang="ko-KR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C. </a:t>
            </a:r>
            <a:r>
              <a:rPr lang="ko-KR" altLang="en-US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맥스웰 </a:t>
            </a:r>
            <a:r>
              <a:rPr lang="en-US" altLang="ko-KR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- </a:t>
            </a:r>
            <a:endParaRPr lang="ko-KR" altLang="ko-KR" sz="3600" kern="100" dirty="0"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744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1A&quot; g=&quot;24&quot; b=&quot;4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HCG">
      <a:dk1>
        <a:srgbClr val="1A2441"/>
      </a:dk1>
      <a:lt1>
        <a:srgbClr val="FFFFFF"/>
      </a:lt1>
      <a:dk2>
        <a:srgbClr val="000000"/>
      </a:dk2>
      <a:lt2>
        <a:srgbClr val="7AC9D2"/>
      </a:lt2>
      <a:accent1>
        <a:srgbClr val="005C9E"/>
      </a:accent1>
      <a:accent2>
        <a:srgbClr val="6CB0E2"/>
      </a:accent2>
      <a:accent3>
        <a:srgbClr val="A7D6F5"/>
      </a:accent3>
      <a:accent4>
        <a:srgbClr val="FF9B06"/>
      </a:accent4>
      <a:accent5>
        <a:srgbClr val="E4003B"/>
      </a:accent5>
      <a:accent6>
        <a:srgbClr val="B1B84F"/>
      </a:accent6>
      <a:hlink>
        <a:srgbClr val="1A2441"/>
      </a:hlink>
      <a:folHlink>
        <a:srgbClr val="1A244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custClrLst>
    <a:custClr name="Pantone 137 C">
      <a:srgbClr val="F59B06"/>
    </a:custClr>
    <a:custClr name="Pantone 325 C">
      <a:srgbClr val="7AC9D2"/>
    </a:custClr>
    <a:custClr name="Pantone 199 C">
      <a:srgbClr val="E4003B"/>
    </a:custClr>
    <a:custClr name="Pantone 2304 C">
      <a:srgbClr val="B1B84F"/>
    </a:custClr>
    <a:custClr name="Pantone 426 C">
      <a:srgbClr val="191D1F"/>
    </a:custClr>
    <a:custClr name="dark grey">
      <a:srgbClr val="393A3B"/>
    </a:custClr>
    <a:custClr name="grey">
      <a:srgbClr val="CCCCCD"/>
    </a:custClr>
    <a:custClr name="light grey">
      <a:srgbClr val="F1F2F3"/>
    </a:custClr>
  </a:custClrLst>
  <a:extLst>
    <a:ext uri="{05A4C25C-085E-4340-85A3-A5531E510DB2}">
      <thm15:themeFamily xmlns:thm15="http://schemas.microsoft.com/office/thememl/2012/main" name="hear.com PPT master_v21c.pptx" id="{FD3A6869-2B2A-4918-9CB6-3B5D0341E1E3}" vid="{78945CFA-D89F-46CB-A7A0-BFCA3EF728E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d525d2d-5b72-4841-9afe-db519bdcda0b">
      <UserInfo>
        <DisplayName>Scott Lee</DisplayName>
        <AccountId>24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5F5622C234E8449D752DBEE5507F86" ma:contentTypeVersion="4" ma:contentTypeDescription="Ein neues Dokument erstellen." ma:contentTypeScope="" ma:versionID="fa5598caf7ee9db85bc2525b6bb2f1fd">
  <xsd:schema xmlns:xsd="http://www.w3.org/2001/XMLSchema" xmlns:xs="http://www.w3.org/2001/XMLSchema" xmlns:p="http://schemas.microsoft.com/office/2006/metadata/properties" xmlns:ns2="6f0dd795-26af-45d5-a025-90cda95d1c97" xmlns:ns3="3d525d2d-5b72-4841-9afe-db519bdcda0b" targetNamespace="http://schemas.microsoft.com/office/2006/metadata/properties" ma:root="true" ma:fieldsID="8212610c15c480f342aad66247796101" ns2:_="" ns3:_="">
    <xsd:import namespace="6f0dd795-26af-45d5-a025-90cda95d1c97"/>
    <xsd:import namespace="3d525d2d-5b72-4841-9afe-db519bdcda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0dd795-26af-45d5-a025-90cda95d1c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525d2d-5b72-4841-9afe-db519bdcda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F3CF7F-2DD0-4238-9381-9DEDFFA46802}">
  <ds:schemaRefs>
    <ds:schemaRef ds:uri="http://schemas.microsoft.com/office/2006/documentManagement/types"/>
    <ds:schemaRef ds:uri="http://purl.org/dc/terms/"/>
    <ds:schemaRef ds:uri="http://purl.org/dc/elements/1.1/"/>
    <ds:schemaRef ds:uri="3d525d2d-5b72-4841-9afe-db519bdcda0b"/>
    <ds:schemaRef ds:uri="http://purl.org/dc/dcmitype/"/>
    <ds:schemaRef ds:uri="6f0dd795-26af-45d5-a025-90cda95d1c97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F9C8038F-EDD8-4449-A665-57293007116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4D4A977-E19B-491E-ABFD-BB1AD4BC52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0dd795-26af-45d5-a025-90cda95d1c97"/>
    <ds:schemaRef ds:uri="3d525d2d-5b72-4841-9afe-db519bdcda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ar.com PPT master_v21c</Template>
  <TotalTime>3699</TotalTime>
  <Words>94</Words>
  <Application>Microsoft Office PowerPoint</Application>
  <PresentationFormat>사용자 지정</PresentationFormat>
  <Paragraphs>57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8" baseType="lpstr">
      <vt:lpstr>Calibri</vt:lpstr>
      <vt:lpstr>Arial</vt:lpstr>
      <vt:lpstr>돋움</vt:lpstr>
      <vt:lpstr>Wingdings</vt:lpstr>
      <vt:lpstr>맑은 고딕</vt:lpstr>
      <vt:lpstr>Office</vt:lpstr>
      <vt:lpstr>think-cell Folie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r.com PowerPoint   master file (v21c)</dc:title>
  <dc:creator>Fabian Reif</dc:creator>
  <cp:lastModifiedBy>Dongmyeong Kim</cp:lastModifiedBy>
  <cp:revision>113</cp:revision>
  <dcterms:created xsi:type="dcterms:W3CDTF">2022-03-07T11:56:58Z</dcterms:created>
  <dcterms:modified xsi:type="dcterms:W3CDTF">2023-12-04T00:0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5F5622C234E8449D752DBEE5507F86</vt:lpwstr>
  </property>
  <property fmtid="{D5CDD505-2E9C-101B-9397-08002B2CF9AE}" pid="3" name="MSIP_Label_cf3fd727-c301-47b1-ab21-756303ab19fa_Enabled">
    <vt:lpwstr>true</vt:lpwstr>
  </property>
  <property fmtid="{D5CDD505-2E9C-101B-9397-08002B2CF9AE}" pid="4" name="MSIP_Label_cf3fd727-c301-47b1-ab21-756303ab19fa_SetDate">
    <vt:lpwstr>2023-08-02T00:00:24Z</vt:lpwstr>
  </property>
  <property fmtid="{D5CDD505-2E9C-101B-9397-08002B2CF9AE}" pid="5" name="MSIP_Label_cf3fd727-c301-47b1-ab21-756303ab19fa_Method">
    <vt:lpwstr>Privileged</vt:lpwstr>
  </property>
  <property fmtid="{D5CDD505-2E9C-101B-9397-08002B2CF9AE}" pid="6" name="MSIP_Label_cf3fd727-c301-47b1-ab21-756303ab19fa_Name">
    <vt:lpwstr>Personal</vt:lpwstr>
  </property>
  <property fmtid="{D5CDD505-2E9C-101B-9397-08002B2CF9AE}" pid="7" name="MSIP_Label_cf3fd727-c301-47b1-ab21-756303ab19fa_SiteId">
    <vt:lpwstr>51834058-d59b-46ca-8d10-e86de9ee892d</vt:lpwstr>
  </property>
  <property fmtid="{D5CDD505-2E9C-101B-9397-08002B2CF9AE}" pid="8" name="MSIP_Label_cf3fd727-c301-47b1-ab21-756303ab19fa_ActionId">
    <vt:lpwstr>28e90c8f-98bb-40e0-90ee-1987a19578b1</vt:lpwstr>
  </property>
  <property fmtid="{D5CDD505-2E9C-101B-9397-08002B2CF9AE}" pid="9" name="MSIP_Label_cf3fd727-c301-47b1-ab21-756303ab19fa_ContentBits">
    <vt:lpwstr>0</vt:lpwstr>
  </property>
</Properties>
</file>